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4"/>
  </p:notesMasterIdLst>
  <p:handoutMasterIdLst>
    <p:handoutMasterId r:id="rId5"/>
  </p:handoutMasterIdLst>
  <p:sldIdLst>
    <p:sldId id="343" r:id="rId2"/>
    <p:sldId id="344" r:id="rId3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43"/>
            <p14:sldId id="34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02" autoAdjust="0"/>
    <p:restoredTop sz="86627" autoAdjust="0"/>
  </p:normalViewPr>
  <p:slideViewPr>
    <p:cSldViewPr snapToObjects="1" showGuides="1">
      <p:cViewPr>
        <p:scale>
          <a:sx n="80" d="100"/>
          <a:sy n="80" d="100"/>
        </p:scale>
        <p:origin x="-1426" y="-542"/>
      </p:cViewPr>
      <p:guideLst>
        <p:guide orient="horz" pos="2160"/>
        <p:guide orient="horz" pos="3339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6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717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00FB87E-736C-4E79-865D-21C40A10E5CC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DABA5B6-B72A-45F9-B0DC-B42B18FE27D4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7F1B097-A7EC-4D15-8CC6-8FE73357BD18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53B5316-E156-4787-B09F-5DABBB81CE5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661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12239C5-6556-4EEE-93F8-2CE866AC296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6EC92EA-F2A2-464F-9FDA-B13575EB2D6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2E731EF-584F-40DC-9440-BB3C79154F3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FC8DFBF-C61B-437A-A9AC-573AC1661CB6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D5EE44E-8146-4BBD-8357-C16DEC501FE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Power Point Master Faktor Zehn 2012</a:t>
            </a:r>
            <a:endParaRPr lang="de-DE" noProof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A1400F8-E562-4A69-B546-552FBEC616AF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DC49F72-9D9D-4DA0-9D19-90B108C998A6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F285AE3-E9B4-4085-9ABE-A7336884075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 – A ConVista Company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9592FCE-AA0C-44AD-91DE-F1AAF1C20B2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706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Faktor-IPS Tools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48391" y="1412776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odellsuche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Suche nach Attributen, Methoden, Assoziationen, Regeln, Tabellen im Workspace 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Produktsuche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Suche nach Produktbausteinen eines anzugebenden Produktbaustein-Typs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stanz Ansich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eigt die Produktbausteine eines Produktbaustein-Typs an, der über das Kontextmenü z.B. Modellexplorers ausgewählt wurde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Hierarchie Ansich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eigt die Ableitungshierarchie von Modellklassen a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odellstruktur Ansich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eigt die </a:t>
            </a:r>
            <a:r>
              <a:rPr lang="de-DE" dirty="0" err="1"/>
              <a:t>Kompositstruktur</a:t>
            </a:r>
            <a:r>
              <a:rPr lang="de-DE" dirty="0"/>
              <a:t> eines Modells oder Modellausschnitts a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A6A6ADD-5B1E-4975-91B0-D16C145145D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566789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Übun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402FFF4-36D3-4549-AC30-1C925D4BBC8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012022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4</Words>
  <Application>Microsoft Office PowerPoint</Application>
  <PresentationFormat>Bildschirmpräsentation (4:3)</PresentationFormat>
  <Paragraphs>16</Paragraphs>
  <Slides>2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3" baseType="lpstr">
      <vt:lpstr>Master - ConVista General </vt:lpstr>
      <vt:lpstr>Faktor-IPS Tools</vt:lpstr>
      <vt:lpstr>Übungen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590</cp:revision>
  <cp:lastPrinted>2012-07-27T08:00:17Z</cp:lastPrinted>
  <dcterms:created xsi:type="dcterms:W3CDTF">2005-03-22T09:36:15Z</dcterms:created>
  <dcterms:modified xsi:type="dcterms:W3CDTF">2012-11-15T17:48:10Z</dcterms:modified>
  <cp:category>Master</cp:category>
  <cp:contentStatus>RELEASED</cp:contentStatus>
</cp:coreProperties>
</file>